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75" d="100"/>
          <a:sy n="75" d="100"/>
        </p:scale>
        <p:origin x="216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7E070B-8901-D0B1-6197-A95E6CCFDC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AAF29B9-76CF-69A5-F77B-7C76C312DE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A3455A-1015-83C2-696D-A5A26C59C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06389-CAA3-4417-B71D-A98E89C2F187}" type="datetimeFigureOut">
              <a:rPr lang="en-US" smtClean="0"/>
              <a:t>9/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734052-6C44-34C6-8BB3-0D5674724D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C66B07-B2D5-2EC0-C8DF-04D31995E2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1DC03-4A86-4A5D-A555-43DF4969B3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829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469EBA-0E53-BC0F-69A4-88D8CD8489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85E7E32-83EB-976B-0841-C147C36BD0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91BDC5-FB01-4171-8295-77F87B02B2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06389-CAA3-4417-B71D-A98E89C2F187}" type="datetimeFigureOut">
              <a:rPr lang="en-US" smtClean="0"/>
              <a:t>9/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4621B0-86C7-3E2F-C0E9-2E42C66104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1F649F-F7D0-310B-403D-E518D61B0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1DC03-4A86-4A5D-A555-43DF4969B3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5472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B58B109-B593-CCE6-DF95-1E6DCC9B9D3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B324B9C-C85D-B9C5-D8C5-31D739EADAA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96C70B-B265-D124-3F35-7FA4F8D2DB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06389-CAA3-4417-B71D-A98E89C2F187}" type="datetimeFigureOut">
              <a:rPr lang="en-US" smtClean="0"/>
              <a:t>9/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5FB1BE-0DC4-8290-0319-70F183ED29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237C33-2500-1ADC-EC92-B0458A595C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1DC03-4A86-4A5D-A555-43DF4969B3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66154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EDD116-EF75-705B-D038-F0E5B2A97F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3B527C-6572-F9ED-BABC-F21023BE4C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BF89C-13B0-6A5D-4932-2526805137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06389-CAA3-4417-B71D-A98E89C2F187}" type="datetimeFigureOut">
              <a:rPr lang="en-US" smtClean="0"/>
              <a:t>9/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75272C-1EFD-F7F5-587B-9B15F2F92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A543A8-27A2-AA18-4E5C-FE581573C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1DC03-4A86-4A5D-A555-43DF4969B3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59523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F9535B-BA20-51DA-B24C-4127B8D67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702A45-1E29-E785-083D-1625E7989D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2EE671-86CF-8B88-D9ED-D707EA9583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06389-CAA3-4417-B71D-A98E89C2F187}" type="datetimeFigureOut">
              <a:rPr lang="en-US" smtClean="0"/>
              <a:t>9/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F67EA7-3405-0AAC-F598-60C09416CA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BA1865-2647-8BC5-2423-BBBD152826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1DC03-4A86-4A5D-A555-43DF4969B3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4778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E1AB34-0967-64FB-B3C3-914058E9AC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00256A-91AB-54FD-68E6-3FB15E960D8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43BCF3-42AF-5DD0-CB8F-7F0FFDC202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6063F4-769E-A419-518B-2087F807C8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06389-CAA3-4417-B71D-A98E89C2F187}" type="datetimeFigureOut">
              <a:rPr lang="en-US" smtClean="0"/>
              <a:t>9/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00E6C30-98A3-AEB7-1EA2-336E94AF6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D6404E-E20A-3144-E9F5-36585934FC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1DC03-4A86-4A5D-A555-43DF4969B3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07602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93BA7-CD33-47E7-8FCF-CB25EB7B51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F5A31E-AA3F-81EF-1C9E-40321BC216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30D0336-74D1-B40D-183F-AF5C9EEC2E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0F4961-99D6-74CA-267A-2612C46A4D7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85F79EF-6CF6-F940-635F-328E6599C51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2942CA-52E6-4DEE-E84F-D1DD16DAE3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06389-CAA3-4417-B71D-A98E89C2F187}" type="datetimeFigureOut">
              <a:rPr lang="en-US" smtClean="0"/>
              <a:t>9/8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3755EF8-5435-1BC9-801D-EDAF9F537C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8639231-8306-7432-AA53-0657C6FC84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1DC03-4A86-4A5D-A555-43DF4969B3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8540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17A945-4D5C-2DF6-A426-2D2A8D040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702058-C8FF-567C-A61B-F734CB91BA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06389-CAA3-4417-B71D-A98E89C2F187}" type="datetimeFigureOut">
              <a:rPr lang="en-US" smtClean="0"/>
              <a:t>9/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DE09E7-EF31-E242-ADDA-B5B217A026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874FDF-7D7A-558A-2E3E-B7DECA155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1DC03-4A86-4A5D-A555-43DF4969B3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59366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E1BA9ED-ACFC-341F-EEE9-86799DDF75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06389-CAA3-4417-B71D-A98E89C2F187}" type="datetimeFigureOut">
              <a:rPr lang="en-US" smtClean="0"/>
              <a:t>9/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D8A90B8-A87C-5740-7610-8557AFD2C8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9CCAEF-68AA-CC35-D7AD-DF740E242A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1DC03-4A86-4A5D-A555-43DF4969B3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0159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84D5C5-4921-0474-703F-8E98F5B89E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750BBA-3B81-6C3C-D3E7-7B6F699997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D481F9F-4CD6-4EBF-66EA-908CF229411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94ED3D4-AC36-5ABC-2159-EED4119C47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06389-CAA3-4417-B71D-A98E89C2F187}" type="datetimeFigureOut">
              <a:rPr lang="en-US" smtClean="0"/>
              <a:t>9/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8EB849F-91B2-E2B5-7A14-5C3F200D0B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985CAD-F0A8-C1DF-4BDB-A13B9A25F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1DC03-4A86-4A5D-A555-43DF4969B3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95566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ADE54-A04F-1B9E-E7E6-8AA8B0C70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CF4164-1555-904E-ED69-945B021A0D2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D37B8-3BD0-C60D-942E-1699642486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7C32B3-63F0-9D54-A6AA-9289802EC1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06389-CAA3-4417-B71D-A98E89C2F187}" type="datetimeFigureOut">
              <a:rPr lang="en-US" smtClean="0"/>
              <a:t>9/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5E12C5B-01F5-A839-88C5-28967CB3B8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0340BB-CB1B-0359-6A1C-318B6AAF38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1DC03-4A86-4A5D-A555-43DF4969B3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4290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2729521-EFFE-1422-287A-71C6B67047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102136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7A20BDF-997E-A570-E886-CD09C8B9D1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E63C6D-E0BC-3879-9D54-72B04577FA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0B5B4D-2606-E852-B86B-E2C6796A65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706389-CAA3-4417-B71D-A98E89C2F187}" type="datetimeFigureOut">
              <a:rPr lang="en-US" smtClean="0"/>
              <a:t>9/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EB839B-9120-DC0C-766E-0BECC44BCE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1634BF-37C4-6C82-4760-1C84933EB2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B1DC03-4A86-4A5D-A555-43DF4969B3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0306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058EDC-94B5-6763-1E96-F30160716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60485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48A09739-9A5C-1049-92CC-B72E8E7801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7870" y="411216"/>
            <a:ext cx="3999347" cy="162559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344E605-11A9-2013-8EE8-89919D8BA9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4869" y="531124"/>
            <a:ext cx="3999347" cy="162559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2F06B82-B551-53B4-99E0-95261E3BC2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3" y="698395"/>
            <a:ext cx="3999347" cy="162559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BC8E823-70F1-06E5-2F4C-87568D7B53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4337" y="865666"/>
            <a:ext cx="3999347" cy="162559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1C6CDBB-57EA-1F7D-B4A7-5AABD58448B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4403" y="1075272"/>
            <a:ext cx="3999347" cy="162559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Picture 13" descr="Graphical user interface, chart&#10;&#10;Description automatically generated">
            <a:extLst>
              <a:ext uri="{FF2B5EF4-FFF2-40B4-BE49-F238E27FC236}">
                <a16:creationId xmlns:a16="http://schemas.microsoft.com/office/drawing/2014/main" id="{5B0B1553-7E13-753C-6346-670FEB6C488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9208" y="3618329"/>
            <a:ext cx="4494860" cy="24072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B28E669-0706-4F61-935F-C5A49A30374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53051" y="396022"/>
            <a:ext cx="4541017" cy="22861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1CB5B0A1-37ED-4091-7D2E-6F625D8C68F4}"/>
              </a:ext>
            </a:extLst>
          </p:cNvPr>
          <p:cNvSpPr/>
          <p:nvPr/>
        </p:nvSpPr>
        <p:spPr>
          <a:xfrm>
            <a:off x="5825072" y="2752590"/>
            <a:ext cx="5396974" cy="736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u="sng" dirty="0">
                <a:solidFill>
                  <a:schemeClr val="tx1"/>
                </a:solidFill>
              </a:rPr>
              <a:t>Timesheets Bot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b="1" i="1" dirty="0">
                <a:solidFill>
                  <a:srgbClr val="FF0000"/>
                </a:solidFill>
              </a:rPr>
              <a:t>Reads</a:t>
            </a:r>
            <a:r>
              <a:rPr lang="en-US" sz="1600" b="1" i="1" dirty="0">
                <a:solidFill>
                  <a:schemeClr val="tx1"/>
                </a:solidFill>
              </a:rPr>
              <a:t> the files from drive, </a:t>
            </a:r>
            <a:r>
              <a:rPr lang="en-US" sz="1600" b="1" i="1" dirty="0">
                <a:solidFill>
                  <a:srgbClr val="FF0000"/>
                </a:solidFill>
              </a:rPr>
              <a:t>Cleans</a:t>
            </a:r>
            <a:r>
              <a:rPr lang="en-US" sz="1600" b="1" i="1" dirty="0">
                <a:solidFill>
                  <a:schemeClr val="tx1"/>
                </a:solidFill>
              </a:rPr>
              <a:t> data , </a:t>
            </a:r>
            <a:r>
              <a:rPr lang="en-US" sz="1600" b="1" i="1" dirty="0">
                <a:solidFill>
                  <a:srgbClr val="FF0000"/>
                </a:solidFill>
              </a:rPr>
              <a:t>Consolidates</a:t>
            </a:r>
            <a:r>
              <a:rPr lang="en-US" sz="1600" b="1" i="1" dirty="0">
                <a:solidFill>
                  <a:schemeClr val="tx1"/>
                </a:solidFill>
              </a:rPr>
              <a:t> the files and </a:t>
            </a:r>
            <a:r>
              <a:rPr lang="en-US" sz="1600" b="1" i="1" dirty="0">
                <a:solidFill>
                  <a:srgbClr val="FF0000"/>
                </a:solidFill>
              </a:rPr>
              <a:t>Emails</a:t>
            </a:r>
            <a:r>
              <a:rPr lang="en-US" sz="1600" b="1" i="1" dirty="0">
                <a:solidFill>
                  <a:schemeClr val="tx1"/>
                </a:solidFill>
              </a:rPr>
              <a:t> the file to respective team manager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268D3B3-468D-75A5-DAFD-0821D8899DF0}"/>
              </a:ext>
            </a:extLst>
          </p:cNvPr>
          <p:cNvSpPr/>
          <p:nvPr/>
        </p:nvSpPr>
        <p:spPr>
          <a:xfrm>
            <a:off x="238229" y="2752590"/>
            <a:ext cx="4909512" cy="736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i="1" dirty="0">
                <a:solidFill>
                  <a:schemeClr val="tx1"/>
                </a:solidFill>
              </a:rPr>
              <a:t>Team fills </a:t>
            </a:r>
            <a:r>
              <a:rPr lang="en-US" sz="1600" b="1" i="1" dirty="0">
                <a:solidFill>
                  <a:srgbClr val="FF0000"/>
                </a:solidFill>
              </a:rPr>
              <a:t>macro enabled weekly timesheets </a:t>
            </a:r>
            <a:r>
              <a:rPr lang="en-US" sz="1600" b="1" i="1" dirty="0">
                <a:solidFill>
                  <a:schemeClr val="tx1"/>
                </a:solidFill>
              </a:rPr>
              <a:t>on drive, which </a:t>
            </a:r>
            <a:r>
              <a:rPr lang="en-US" sz="1600" b="1" i="1" dirty="0">
                <a:solidFill>
                  <a:srgbClr val="FF0000"/>
                </a:solidFill>
              </a:rPr>
              <a:t>get sent to timesheets bot </a:t>
            </a:r>
            <a:r>
              <a:rPr lang="en-US" sz="1600" b="1" i="1" dirty="0">
                <a:solidFill>
                  <a:schemeClr val="tx1"/>
                </a:solidFill>
              </a:rPr>
              <a:t>via email upon saving the file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DB6CC9F1-25D0-F490-5F7B-B9AD3751E5A3}"/>
              </a:ext>
            </a:extLst>
          </p:cNvPr>
          <p:cNvCxnSpPr>
            <a:cxnSpLocks/>
          </p:cNvCxnSpPr>
          <p:nvPr/>
        </p:nvCxnSpPr>
        <p:spPr>
          <a:xfrm>
            <a:off x="4932251" y="1697911"/>
            <a:ext cx="1320800" cy="0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11C6BC5C-754D-C922-EB3B-BBBF48F49D52}"/>
              </a:ext>
            </a:extLst>
          </p:cNvPr>
          <p:cNvCxnSpPr>
            <a:cxnSpLocks/>
          </p:cNvCxnSpPr>
          <p:nvPr/>
        </p:nvCxnSpPr>
        <p:spPr>
          <a:xfrm>
            <a:off x="10794068" y="1539105"/>
            <a:ext cx="12700" cy="3282868"/>
          </a:xfrm>
          <a:prstGeom prst="bentConnector3">
            <a:avLst>
              <a:gd name="adj1" fmla="val 9400000"/>
            </a:avLst>
          </a:prstGeom>
          <a:ln w="7620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F419A943-B325-B104-67D2-72E6D265BF88}"/>
              </a:ext>
            </a:extLst>
          </p:cNvPr>
          <p:cNvSpPr/>
          <p:nvPr/>
        </p:nvSpPr>
        <p:spPr>
          <a:xfrm>
            <a:off x="5825072" y="6132329"/>
            <a:ext cx="5396974" cy="68786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i="1" dirty="0">
                <a:solidFill>
                  <a:srgbClr val="FF0000"/>
                </a:solidFill>
              </a:rPr>
              <a:t>Consolidated File </a:t>
            </a:r>
            <a:r>
              <a:rPr lang="en-US" sz="1600" b="1" i="1" dirty="0">
                <a:solidFill>
                  <a:schemeClr val="tx1"/>
                </a:solidFill>
              </a:rPr>
              <a:t>is automatically plugged into the dashboard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F9BBDAAC-B2B2-966B-849B-18403917180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3771" y="3618329"/>
            <a:ext cx="4369979" cy="24355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25E211FA-B2A5-3218-8C10-FC2258D73C09}"/>
              </a:ext>
            </a:extLst>
          </p:cNvPr>
          <p:cNvSpPr/>
          <p:nvPr/>
        </p:nvSpPr>
        <p:spPr>
          <a:xfrm>
            <a:off x="238229" y="6102851"/>
            <a:ext cx="4909512" cy="68786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i="1" dirty="0">
                <a:solidFill>
                  <a:schemeClr val="tx1"/>
                </a:solidFill>
              </a:rPr>
              <a:t>Dashboards and Consolidated files are </a:t>
            </a:r>
            <a:r>
              <a:rPr lang="en-US" sz="1600" b="1" i="1" dirty="0">
                <a:solidFill>
                  <a:srgbClr val="FF0000"/>
                </a:solidFill>
              </a:rPr>
              <a:t>sent</a:t>
            </a:r>
            <a:r>
              <a:rPr lang="en-US" sz="1600" b="1" i="1" dirty="0">
                <a:solidFill>
                  <a:schemeClr val="tx1"/>
                </a:solidFill>
              </a:rPr>
              <a:t> to project managers </a:t>
            </a:r>
            <a:r>
              <a:rPr lang="en-US" sz="1600" b="1" i="1" dirty="0">
                <a:solidFill>
                  <a:srgbClr val="FF0000"/>
                </a:solidFill>
              </a:rPr>
              <a:t>via email through the bot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8040A34C-215B-90ED-3FD4-A2CA6CB398A2}"/>
              </a:ext>
            </a:extLst>
          </p:cNvPr>
          <p:cNvCxnSpPr>
            <a:cxnSpLocks/>
          </p:cNvCxnSpPr>
          <p:nvPr/>
        </p:nvCxnSpPr>
        <p:spPr>
          <a:xfrm flipH="1">
            <a:off x="4913750" y="4821973"/>
            <a:ext cx="1333910" cy="0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61469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</TotalTime>
  <Words>66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ham Anwar</dc:creator>
  <cp:lastModifiedBy>Arham Anwar</cp:lastModifiedBy>
  <cp:revision>1</cp:revision>
  <dcterms:created xsi:type="dcterms:W3CDTF">2022-09-08T06:01:48Z</dcterms:created>
  <dcterms:modified xsi:type="dcterms:W3CDTF">2022-09-08T06:30:01Z</dcterms:modified>
</cp:coreProperties>
</file>